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6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3AB040-FF2F-0B6A-6600-FF9E11DD61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2AF0768-1F33-CA86-3F91-37EAA6F7B7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AF0768-1F33-CA86-3F91-37EAA6F7B7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5A24931-DFF1-BE7E-1D56-7078834903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6 Conce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42EA73-3CD3-A47E-0E9B-B61309F9E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AD6AC76-0F4B-08D5-2251-354F31A32778}"/>
              </a:ext>
            </a:extLst>
          </p:cNvPr>
          <p:cNvGrpSpPr/>
          <p:nvPr/>
        </p:nvGrpSpPr>
        <p:grpSpPr>
          <a:xfrm>
            <a:off x="876630" y="1541715"/>
            <a:ext cx="3810231" cy="4089530"/>
            <a:chOff x="876630" y="1541715"/>
            <a:chExt cx="3810231" cy="408953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8ADB893-0B6A-384B-4F12-F43C5E5B2B76}"/>
                </a:ext>
              </a:extLst>
            </p:cNvPr>
            <p:cNvGrpSpPr/>
            <p:nvPr/>
          </p:nvGrpSpPr>
          <p:grpSpPr>
            <a:xfrm>
              <a:off x="1398006" y="1976010"/>
              <a:ext cx="2754783" cy="3195551"/>
              <a:chOff x="3505200" y="1562862"/>
              <a:chExt cx="2133600" cy="2474976"/>
            </a:xfrm>
          </p:grpSpPr>
          <p:sp>
            <p:nvSpPr>
              <p:cNvPr id="41" name="Hexagon 40">
                <a:extLst>
                  <a:ext uri="{FF2B5EF4-FFF2-40B4-BE49-F238E27FC236}">
                    <a16:creationId xmlns:a16="http://schemas.microsoft.com/office/drawing/2014/main" id="{09D9C21E-B4C8-D343-8661-AC95588E363D}"/>
                  </a:ext>
                </a:extLst>
              </p:cNvPr>
              <p:cNvSpPr/>
              <p:nvPr/>
            </p:nvSpPr>
            <p:spPr>
              <a:xfrm rot="5400000">
                <a:off x="3334512" y="1733550"/>
                <a:ext cx="2474976" cy="2133600"/>
              </a:xfrm>
              <a:prstGeom prst="hexagon">
                <a:avLst/>
              </a:prstGeom>
              <a:noFill/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764" b="1" dirty="0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1C04F9D9-5BA8-5218-035F-4447DEBA4BB3}"/>
                  </a:ext>
                </a:extLst>
              </p:cNvPr>
              <p:cNvCxnSpPr>
                <a:stCxn id="7" idx="0"/>
                <a:endCxn id="9" idx="4"/>
              </p:cNvCxnSpPr>
              <p:nvPr/>
            </p:nvCxnSpPr>
            <p:spPr>
              <a:xfrm flipV="1">
                <a:off x="3928569" y="2152650"/>
                <a:ext cx="1296697" cy="1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61647C76-6C04-D95B-EF9E-6CBBC9DA4F5E}"/>
                  </a:ext>
                </a:extLst>
              </p:cNvPr>
              <p:cNvCxnSpPr>
                <a:stCxn id="12" idx="0"/>
                <a:endCxn id="10" idx="4"/>
              </p:cNvCxnSpPr>
              <p:nvPr/>
            </p:nvCxnSpPr>
            <p:spPr>
              <a:xfrm>
                <a:off x="3928569" y="3401345"/>
                <a:ext cx="1296697" cy="0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548C4099-8EDA-2E7E-5C53-C3D13E2E1CB1}"/>
                  </a:ext>
                </a:extLst>
              </p:cNvPr>
              <p:cNvCxnSpPr>
                <a:stCxn id="8" idx="6"/>
                <a:endCxn id="11" idx="2"/>
              </p:cNvCxnSpPr>
              <p:nvPr/>
            </p:nvCxnSpPr>
            <p:spPr>
              <a:xfrm flipH="1">
                <a:off x="4572000" y="2053637"/>
                <a:ext cx="9779" cy="1513095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185BB6D-C823-7F93-69D3-6F2BC6B5E4CF}"/>
                  </a:ext>
                </a:extLst>
              </p:cNvPr>
              <p:cNvCxnSpPr>
                <a:stCxn id="8" idx="6"/>
                <a:endCxn id="12" idx="1"/>
              </p:cNvCxnSpPr>
              <p:nvPr/>
            </p:nvCxnSpPr>
            <p:spPr>
              <a:xfrm flipH="1">
                <a:off x="3807431" y="2053637"/>
                <a:ext cx="774348" cy="1055271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75548590-344C-F57A-AEEC-A313BD9CACF4}"/>
                  </a:ext>
                </a:extLst>
              </p:cNvPr>
              <p:cNvCxnSpPr>
                <a:stCxn id="8" idx="6"/>
                <a:endCxn id="10" idx="3"/>
              </p:cNvCxnSpPr>
              <p:nvPr/>
            </p:nvCxnSpPr>
            <p:spPr>
              <a:xfrm>
                <a:off x="4581779" y="2053637"/>
                <a:ext cx="764624" cy="1055271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5846E119-0F49-4C79-EE7C-021CCBC20316}"/>
                  </a:ext>
                </a:extLst>
              </p:cNvPr>
              <p:cNvCxnSpPr>
                <a:stCxn id="11" idx="2"/>
                <a:endCxn id="7" idx="7"/>
              </p:cNvCxnSpPr>
              <p:nvPr/>
            </p:nvCxnSpPr>
            <p:spPr>
              <a:xfrm flipH="1" flipV="1">
                <a:off x="3807431" y="2445089"/>
                <a:ext cx="764569" cy="1121643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63E63F4F-C5EF-FE89-F6F3-F4C06A104198}"/>
                  </a:ext>
                </a:extLst>
              </p:cNvPr>
              <p:cNvCxnSpPr>
                <a:stCxn id="11" idx="2"/>
                <a:endCxn id="9" idx="5"/>
              </p:cNvCxnSpPr>
              <p:nvPr/>
            </p:nvCxnSpPr>
            <p:spPr>
              <a:xfrm flipV="1">
                <a:off x="4572000" y="2445088"/>
                <a:ext cx="774403" cy="1121644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669351B1-8C75-1D56-7A86-25FFAB88C2F8}"/>
                  </a:ext>
                </a:extLst>
              </p:cNvPr>
              <p:cNvCxnSpPr>
                <a:stCxn id="7" idx="7"/>
                <a:endCxn id="10" idx="3"/>
              </p:cNvCxnSpPr>
              <p:nvPr/>
            </p:nvCxnSpPr>
            <p:spPr>
              <a:xfrm>
                <a:off x="3807431" y="2445089"/>
                <a:ext cx="1538972" cy="663819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AF86F6E6-F127-9BF6-C919-B809F962E1A8}"/>
                  </a:ext>
                </a:extLst>
              </p:cNvPr>
              <p:cNvCxnSpPr>
                <a:stCxn id="9" idx="5"/>
                <a:endCxn id="12" idx="1"/>
              </p:cNvCxnSpPr>
              <p:nvPr/>
            </p:nvCxnSpPr>
            <p:spPr>
              <a:xfrm flipH="1">
                <a:off x="3807431" y="2445088"/>
                <a:ext cx="1538972" cy="663820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CD7A0EC3-6062-916B-FE0E-F56199957E87}"/>
                </a:ext>
              </a:extLst>
            </p:cNvPr>
            <p:cNvSpPr/>
            <p:nvPr/>
          </p:nvSpPr>
          <p:spPr>
            <a:xfrm rot="5400000">
              <a:off x="876655" y="2203510"/>
              <a:ext cx="1067956" cy="106800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EEECB4BB-EE3A-DE00-EAFF-E90B92164F3F}"/>
                </a:ext>
              </a:extLst>
            </p:cNvPr>
            <p:cNvSpPr/>
            <p:nvPr/>
          </p:nvSpPr>
          <p:spPr>
            <a:xfrm rot="5400000">
              <a:off x="2254046" y="1541690"/>
              <a:ext cx="1067956" cy="106800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E5E2C816-2FF3-33AE-7AC2-E9A28188A901}"/>
                </a:ext>
              </a:extLst>
            </p:cNvPr>
            <p:cNvSpPr/>
            <p:nvPr/>
          </p:nvSpPr>
          <p:spPr>
            <a:xfrm rot="5400000">
              <a:off x="3618881" y="2203509"/>
              <a:ext cx="1067956" cy="106800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CFC203CF-F143-B68B-E007-DF3A462B7E3E}"/>
                </a:ext>
              </a:extLst>
            </p:cNvPr>
            <p:cNvSpPr/>
            <p:nvPr/>
          </p:nvSpPr>
          <p:spPr>
            <a:xfrm rot="5400000">
              <a:off x="3618881" y="3815754"/>
              <a:ext cx="1067956" cy="106800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12514F15-E565-AB22-F846-A28C6F6C748F}"/>
                </a:ext>
              </a:extLst>
            </p:cNvPr>
            <p:cNvSpPr/>
            <p:nvPr/>
          </p:nvSpPr>
          <p:spPr>
            <a:xfrm rot="5400000">
              <a:off x="2241422" y="4563268"/>
              <a:ext cx="1067951" cy="106800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8EA7461B-A278-30E5-E936-B8FEE823F1D3}"/>
                </a:ext>
              </a:extLst>
            </p:cNvPr>
            <p:cNvSpPr/>
            <p:nvPr/>
          </p:nvSpPr>
          <p:spPr>
            <a:xfrm rot="5400000">
              <a:off x="876655" y="3815754"/>
              <a:ext cx="1067956" cy="106800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17F24A3-1DE9-BE39-C2C9-5F03FF339FC5}"/>
                </a:ext>
              </a:extLst>
            </p:cNvPr>
            <p:cNvSpPr/>
            <p:nvPr/>
          </p:nvSpPr>
          <p:spPr>
            <a:xfrm rot="5400000">
              <a:off x="2242119" y="3040508"/>
              <a:ext cx="1066555" cy="1066556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6D31F1B2-B839-63E1-B1E3-E1FEFC1CABFD}"/>
                </a:ext>
              </a:extLst>
            </p:cNvPr>
            <p:cNvGrpSpPr/>
            <p:nvPr/>
          </p:nvGrpSpPr>
          <p:grpSpPr>
            <a:xfrm>
              <a:off x="1094397" y="4136503"/>
              <a:ext cx="632472" cy="426508"/>
              <a:chOff x="6716027" y="5411634"/>
              <a:chExt cx="583964" cy="393797"/>
            </a:xfrm>
            <a:solidFill>
              <a:schemeClr val="bg1"/>
            </a:solidFill>
          </p:grpSpPr>
          <p:sp>
            <p:nvSpPr>
              <p:cNvPr id="38" name="Freeform 17">
                <a:extLst>
                  <a:ext uri="{FF2B5EF4-FFF2-40B4-BE49-F238E27FC236}">
                    <a16:creationId xmlns:a16="http://schemas.microsoft.com/office/drawing/2014/main" id="{5C13042D-F72F-6A91-298A-4392F02890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832931" y="5294730"/>
                <a:ext cx="350155" cy="583964"/>
              </a:xfrm>
              <a:custGeom>
                <a:avLst/>
                <a:gdLst>
                  <a:gd name="T0" fmla="*/ 50 w 184"/>
                  <a:gd name="T1" fmla="*/ 310 h 310"/>
                  <a:gd name="T2" fmla="*/ 32 w 184"/>
                  <a:gd name="T3" fmla="*/ 282 h 310"/>
                  <a:gd name="T4" fmla="*/ 10 w 184"/>
                  <a:gd name="T5" fmla="*/ 199 h 310"/>
                  <a:gd name="T6" fmla="*/ 39 w 184"/>
                  <a:gd name="T7" fmla="*/ 171 h 310"/>
                  <a:gd name="T8" fmla="*/ 30 w 184"/>
                  <a:gd name="T9" fmla="*/ 116 h 310"/>
                  <a:gd name="T10" fmla="*/ 36 w 184"/>
                  <a:gd name="T11" fmla="*/ 73 h 310"/>
                  <a:gd name="T12" fmla="*/ 36 w 184"/>
                  <a:gd name="T13" fmla="*/ 72 h 310"/>
                  <a:gd name="T14" fmla="*/ 92 w 184"/>
                  <a:gd name="T15" fmla="*/ 0 h 310"/>
                  <a:gd name="T16" fmla="*/ 148 w 184"/>
                  <a:gd name="T17" fmla="*/ 72 h 310"/>
                  <a:gd name="T18" fmla="*/ 148 w 184"/>
                  <a:gd name="T19" fmla="*/ 73 h 310"/>
                  <a:gd name="T20" fmla="*/ 155 w 184"/>
                  <a:gd name="T21" fmla="*/ 116 h 310"/>
                  <a:gd name="T22" fmla="*/ 145 w 184"/>
                  <a:gd name="T23" fmla="*/ 171 h 310"/>
                  <a:gd name="T24" fmla="*/ 174 w 184"/>
                  <a:gd name="T25" fmla="*/ 199 h 310"/>
                  <a:gd name="T26" fmla="*/ 153 w 184"/>
                  <a:gd name="T27" fmla="*/ 282 h 310"/>
                  <a:gd name="T28" fmla="*/ 134 w 184"/>
                  <a:gd name="T29" fmla="*/ 310 h 310"/>
                  <a:gd name="T30" fmla="*/ 134 w 184"/>
                  <a:gd name="T31" fmla="*/ 276 h 310"/>
                  <a:gd name="T32" fmla="*/ 118 w 184"/>
                  <a:gd name="T33" fmla="*/ 239 h 310"/>
                  <a:gd name="T34" fmla="*/ 118 w 184"/>
                  <a:gd name="T35" fmla="*/ 240 h 310"/>
                  <a:gd name="T36" fmla="*/ 115 w 184"/>
                  <a:gd name="T37" fmla="*/ 246 h 310"/>
                  <a:gd name="T38" fmla="*/ 108 w 184"/>
                  <a:gd name="T39" fmla="*/ 245 h 310"/>
                  <a:gd name="T40" fmla="*/ 76 w 184"/>
                  <a:gd name="T41" fmla="*/ 245 h 310"/>
                  <a:gd name="T42" fmla="*/ 69 w 184"/>
                  <a:gd name="T43" fmla="*/ 246 h 310"/>
                  <a:gd name="T44" fmla="*/ 66 w 184"/>
                  <a:gd name="T45" fmla="*/ 240 h 310"/>
                  <a:gd name="T46" fmla="*/ 66 w 184"/>
                  <a:gd name="T47" fmla="*/ 239 h 310"/>
                  <a:gd name="T48" fmla="*/ 50 w 184"/>
                  <a:gd name="T49" fmla="*/ 276 h 310"/>
                  <a:gd name="T50" fmla="*/ 50 w 184"/>
                  <a:gd name="T51" fmla="*/ 310 h 310"/>
                  <a:gd name="T52" fmla="*/ 55 w 184"/>
                  <a:gd name="T53" fmla="*/ 79 h 310"/>
                  <a:gd name="T54" fmla="*/ 50 w 184"/>
                  <a:gd name="T55" fmla="*/ 116 h 310"/>
                  <a:gd name="T56" fmla="*/ 61 w 184"/>
                  <a:gd name="T57" fmla="*/ 174 h 310"/>
                  <a:gd name="T58" fmla="*/ 64 w 184"/>
                  <a:gd name="T59" fmla="*/ 184 h 310"/>
                  <a:gd name="T60" fmla="*/ 54 w 184"/>
                  <a:gd name="T61" fmla="*/ 187 h 310"/>
                  <a:gd name="T62" fmla="*/ 29 w 184"/>
                  <a:gd name="T63" fmla="*/ 205 h 310"/>
                  <a:gd name="T64" fmla="*/ 36 w 184"/>
                  <a:gd name="T65" fmla="*/ 247 h 310"/>
                  <a:gd name="T66" fmla="*/ 65 w 184"/>
                  <a:gd name="T67" fmla="*/ 215 h 310"/>
                  <a:gd name="T68" fmla="*/ 74 w 184"/>
                  <a:gd name="T69" fmla="*/ 209 h 310"/>
                  <a:gd name="T70" fmla="*/ 79 w 184"/>
                  <a:gd name="T71" fmla="*/ 219 h 310"/>
                  <a:gd name="T72" fmla="*/ 82 w 184"/>
                  <a:gd name="T73" fmla="*/ 225 h 310"/>
                  <a:gd name="T74" fmla="*/ 103 w 184"/>
                  <a:gd name="T75" fmla="*/ 225 h 310"/>
                  <a:gd name="T76" fmla="*/ 105 w 184"/>
                  <a:gd name="T77" fmla="*/ 219 h 310"/>
                  <a:gd name="T78" fmla="*/ 110 w 184"/>
                  <a:gd name="T79" fmla="*/ 209 h 310"/>
                  <a:gd name="T80" fmla="*/ 120 w 184"/>
                  <a:gd name="T81" fmla="*/ 215 h 310"/>
                  <a:gd name="T82" fmla="*/ 148 w 184"/>
                  <a:gd name="T83" fmla="*/ 247 h 310"/>
                  <a:gd name="T84" fmla="*/ 155 w 184"/>
                  <a:gd name="T85" fmla="*/ 205 h 310"/>
                  <a:gd name="T86" fmla="*/ 130 w 184"/>
                  <a:gd name="T87" fmla="*/ 187 h 310"/>
                  <a:gd name="T88" fmla="*/ 120 w 184"/>
                  <a:gd name="T89" fmla="*/ 184 h 310"/>
                  <a:gd name="T90" fmla="*/ 123 w 184"/>
                  <a:gd name="T91" fmla="*/ 174 h 310"/>
                  <a:gd name="T92" fmla="*/ 135 w 184"/>
                  <a:gd name="T93" fmla="*/ 116 h 310"/>
                  <a:gd name="T94" fmla="*/ 129 w 184"/>
                  <a:gd name="T95" fmla="*/ 79 h 310"/>
                  <a:gd name="T96" fmla="*/ 92 w 184"/>
                  <a:gd name="T97" fmla="*/ 21 h 310"/>
                  <a:gd name="T98" fmla="*/ 55 w 184"/>
                  <a:gd name="T99" fmla="*/ 7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4" h="310">
                    <a:moveTo>
                      <a:pt x="50" y="310"/>
                    </a:moveTo>
                    <a:cubicBezTo>
                      <a:pt x="32" y="282"/>
                      <a:pt x="32" y="282"/>
                      <a:pt x="32" y="282"/>
                    </a:cubicBezTo>
                    <a:cubicBezTo>
                      <a:pt x="28" y="276"/>
                      <a:pt x="0" y="230"/>
                      <a:pt x="10" y="199"/>
                    </a:cubicBezTo>
                    <a:cubicBezTo>
                      <a:pt x="14" y="187"/>
                      <a:pt x="24" y="178"/>
                      <a:pt x="39" y="171"/>
                    </a:cubicBezTo>
                    <a:cubicBezTo>
                      <a:pt x="33" y="151"/>
                      <a:pt x="30" y="132"/>
                      <a:pt x="30" y="116"/>
                    </a:cubicBezTo>
                    <a:cubicBezTo>
                      <a:pt x="30" y="102"/>
                      <a:pt x="32" y="87"/>
                      <a:pt x="36" y="73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50" y="35"/>
                      <a:pt x="77" y="0"/>
                      <a:pt x="92" y="0"/>
                    </a:cubicBezTo>
                    <a:cubicBezTo>
                      <a:pt x="107" y="0"/>
                      <a:pt x="134" y="35"/>
                      <a:pt x="148" y="72"/>
                    </a:cubicBezTo>
                    <a:cubicBezTo>
                      <a:pt x="148" y="73"/>
                      <a:pt x="148" y="73"/>
                      <a:pt x="148" y="73"/>
                    </a:cubicBezTo>
                    <a:cubicBezTo>
                      <a:pt x="152" y="87"/>
                      <a:pt x="155" y="102"/>
                      <a:pt x="155" y="116"/>
                    </a:cubicBezTo>
                    <a:cubicBezTo>
                      <a:pt x="155" y="132"/>
                      <a:pt x="152" y="151"/>
                      <a:pt x="145" y="171"/>
                    </a:cubicBezTo>
                    <a:cubicBezTo>
                      <a:pt x="160" y="178"/>
                      <a:pt x="170" y="187"/>
                      <a:pt x="174" y="199"/>
                    </a:cubicBezTo>
                    <a:cubicBezTo>
                      <a:pt x="184" y="230"/>
                      <a:pt x="156" y="276"/>
                      <a:pt x="153" y="282"/>
                    </a:cubicBezTo>
                    <a:cubicBezTo>
                      <a:pt x="134" y="310"/>
                      <a:pt x="134" y="310"/>
                      <a:pt x="134" y="310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134" y="262"/>
                      <a:pt x="128" y="248"/>
                      <a:pt x="118" y="239"/>
                    </a:cubicBezTo>
                    <a:cubicBezTo>
                      <a:pt x="118" y="239"/>
                      <a:pt x="118" y="239"/>
                      <a:pt x="118" y="240"/>
                    </a:cubicBezTo>
                    <a:cubicBezTo>
                      <a:pt x="115" y="246"/>
                      <a:pt x="115" y="246"/>
                      <a:pt x="115" y="246"/>
                    </a:cubicBezTo>
                    <a:cubicBezTo>
                      <a:pt x="108" y="245"/>
                      <a:pt x="108" y="245"/>
                      <a:pt x="108" y="245"/>
                    </a:cubicBezTo>
                    <a:cubicBezTo>
                      <a:pt x="98" y="245"/>
                      <a:pt x="87" y="245"/>
                      <a:pt x="76" y="245"/>
                    </a:cubicBezTo>
                    <a:cubicBezTo>
                      <a:pt x="69" y="246"/>
                      <a:pt x="69" y="246"/>
                      <a:pt x="69" y="246"/>
                    </a:cubicBezTo>
                    <a:cubicBezTo>
                      <a:pt x="66" y="240"/>
                      <a:pt x="66" y="240"/>
                      <a:pt x="66" y="240"/>
                    </a:cubicBezTo>
                    <a:cubicBezTo>
                      <a:pt x="66" y="239"/>
                      <a:pt x="66" y="239"/>
                      <a:pt x="66" y="239"/>
                    </a:cubicBezTo>
                    <a:cubicBezTo>
                      <a:pt x="56" y="249"/>
                      <a:pt x="50" y="262"/>
                      <a:pt x="50" y="276"/>
                    </a:cubicBezTo>
                    <a:lnTo>
                      <a:pt x="50" y="310"/>
                    </a:lnTo>
                    <a:close/>
                    <a:moveTo>
                      <a:pt x="55" y="79"/>
                    </a:moveTo>
                    <a:cubicBezTo>
                      <a:pt x="52" y="91"/>
                      <a:pt x="50" y="104"/>
                      <a:pt x="50" y="116"/>
                    </a:cubicBezTo>
                    <a:cubicBezTo>
                      <a:pt x="50" y="132"/>
                      <a:pt x="53" y="152"/>
                      <a:pt x="61" y="174"/>
                    </a:cubicBezTo>
                    <a:cubicBezTo>
                      <a:pt x="64" y="184"/>
                      <a:pt x="64" y="184"/>
                      <a:pt x="64" y="184"/>
                    </a:cubicBezTo>
                    <a:cubicBezTo>
                      <a:pt x="54" y="187"/>
                      <a:pt x="54" y="187"/>
                      <a:pt x="54" y="187"/>
                    </a:cubicBezTo>
                    <a:cubicBezTo>
                      <a:pt x="45" y="190"/>
                      <a:pt x="33" y="196"/>
                      <a:pt x="29" y="205"/>
                    </a:cubicBezTo>
                    <a:cubicBezTo>
                      <a:pt x="26" y="216"/>
                      <a:pt x="30" y="233"/>
                      <a:pt x="36" y="247"/>
                    </a:cubicBezTo>
                    <a:cubicBezTo>
                      <a:pt x="42" y="234"/>
                      <a:pt x="52" y="223"/>
                      <a:pt x="65" y="215"/>
                    </a:cubicBezTo>
                    <a:cubicBezTo>
                      <a:pt x="74" y="209"/>
                      <a:pt x="74" y="209"/>
                      <a:pt x="74" y="209"/>
                    </a:cubicBezTo>
                    <a:cubicBezTo>
                      <a:pt x="79" y="219"/>
                      <a:pt x="79" y="219"/>
                      <a:pt x="79" y="219"/>
                    </a:cubicBezTo>
                    <a:cubicBezTo>
                      <a:pt x="80" y="221"/>
                      <a:pt x="81" y="223"/>
                      <a:pt x="82" y="225"/>
                    </a:cubicBezTo>
                    <a:cubicBezTo>
                      <a:pt x="89" y="225"/>
                      <a:pt x="96" y="225"/>
                      <a:pt x="103" y="225"/>
                    </a:cubicBezTo>
                    <a:cubicBezTo>
                      <a:pt x="104" y="223"/>
                      <a:pt x="105" y="221"/>
                      <a:pt x="105" y="219"/>
                    </a:cubicBezTo>
                    <a:cubicBezTo>
                      <a:pt x="110" y="209"/>
                      <a:pt x="110" y="209"/>
                      <a:pt x="110" y="209"/>
                    </a:cubicBezTo>
                    <a:cubicBezTo>
                      <a:pt x="120" y="215"/>
                      <a:pt x="120" y="215"/>
                      <a:pt x="120" y="215"/>
                    </a:cubicBezTo>
                    <a:cubicBezTo>
                      <a:pt x="133" y="223"/>
                      <a:pt x="142" y="234"/>
                      <a:pt x="148" y="247"/>
                    </a:cubicBezTo>
                    <a:cubicBezTo>
                      <a:pt x="154" y="233"/>
                      <a:pt x="159" y="216"/>
                      <a:pt x="155" y="205"/>
                    </a:cubicBezTo>
                    <a:cubicBezTo>
                      <a:pt x="152" y="196"/>
                      <a:pt x="140" y="190"/>
                      <a:pt x="130" y="187"/>
                    </a:cubicBezTo>
                    <a:cubicBezTo>
                      <a:pt x="120" y="184"/>
                      <a:pt x="120" y="184"/>
                      <a:pt x="120" y="184"/>
                    </a:cubicBezTo>
                    <a:cubicBezTo>
                      <a:pt x="123" y="174"/>
                      <a:pt x="123" y="174"/>
                      <a:pt x="123" y="174"/>
                    </a:cubicBezTo>
                    <a:cubicBezTo>
                      <a:pt x="131" y="152"/>
                      <a:pt x="135" y="132"/>
                      <a:pt x="135" y="116"/>
                    </a:cubicBezTo>
                    <a:cubicBezTo>
                      <a:pt x="135" y="104"/>
                      <a:pt x="133" y="91"/>
                      <a:pt x="129" y="79"/>
                    </a:cubicBezTo>
                    <a:cubicBezTo>
                      <a:pt x="117" y="47"/>
                      <a:pt x="99" y="26"/>
                      <a:pt x="92" y="21"/>
                    </a:cubicBezTo>
                    <a:cubicBezTo>
                      <a:pt x="85" y="26"/>
                      <a:pt x="67" y="47"/>
                      <a:pt x="55" y="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9" name="Freeform 18">
                <a:extLst>
                  <a:ext uri="{FF2B5EF4-FFF2-40B4-BE49-F238E27FC236}">
                    <a16:creationId xmlns:a16="http://schemas.microsoft.com/office/drawing/2014/main" id="{4DB4CFAD-D829-2261-7421-AB0D7ADFC5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989613" y="5483631"/>
                <a:ext cx="121724" cy="120112"/>
              </a:xfrm>
              <a:custGeom>
                <a:avLst/>
                <a:gdLst>
                  <a:gd name="T0" fmla="*/ 32 w 64"/>
                  <a:gd name="T1" fmla="*/ 64 h 64"/>
                  <a:gd name="T2" fmla="*/ 0 w 64"/>
                  <a:gd name="T3" fmla="*/ 32 h 64"/>
                  <a:gd name="T4" fmla="*/ 32 w 64"/>
                  <a:gd name="T5" fmla="*/ 0 h 64"/>
                  <a:gd name="T6" fmla="*/ 64 w 64"/>
                  <a:gd name="T7" fmla="*/ 32 h 64"/>
                  <a:gd name="T8" fmla="*/ 32 w 64"/>
                  <a:gd name="T9" fmla="*/ 64 h 64"/>
                  <a:gd name="T10" fmla="*/ 32 w 64"/>
                  <a:gd name="T11" fmla="*/ 12 h 64"/>
                  <a:gd name="T12" fmla="*/ 12 w 64"/>
                  <a:gd name="T13" fmla="*/ 32 h 64"/>
                  <a:gd name="T14" fmla="*/ 32 w 64"/>
                  <a:gd name="T15" fmla="*/ 52 h 64"/>
                  <a:gd name="T16" fmla="*/ 52 w 64"/>
                  <a:gd name="T17" fmla="*/ 32 h 64"/>
                  <a:gd name="T18" fmla="*/ 32 w 64"/>
                  <a:gd name="T19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14" y="64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lose/>
                    <a:moveTo>
                      <a:pt x="32" y="12"/>
                    </a:moveTo>
                    <a:cubicBezTo>
                      <a:pt x="21" y="12"/>
                      <a:pt x="12" y="21"/>
                      <a:pt x="12" y="32"/>
                    </a:cubicBezTo>
                    <a:cubicBezTo>
                      <a:pt x="12" y="43"/>
                      <a:pt x="21" y="52"/>
                      <a:pt x="32" y="52"/>
                    </a:cubicBezTo>
                    <a:cubicBezTo>
                      <a:pt x="43" y="52"/>
                      <a:pt x="52" y="43"/>
                      <a:pt x="52" y="32"/>
                    </a:cubicBezTo>
                    <a:cubicBezTo>
                      <a:pt x="52" y="21"/>
                      <a:pt x="43" y="12"/>
                      <a:pt x="3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0" name="Freeform 19">
                <a:extLst>
                  <a:ext uri="{FF2B5EF4-FFF2-40B4-BE49-F238E27FC236}">
                    <a16:creationId xmlns:a16="http://schemas.microsoft.com/office/drawing/2014/main" id="{6551E12A-D13F-6F8B-3397-43067B2DB7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790966" y="5660018"/>
                <a:ext cx="112239" cy="178587"/>
              </a:xfrm>
              <a:custGeom>
                <a:avLst/>
                <a:gdLst>
                  <a:gd name="T0" fmla="*/ 29 w 59"/>
                  <a:gd name="T1" fmla="*/ 95 h 95"/>
                  <a:gd name="T2" fmla="*/ 24 w 59"/>
                  <a:gd name="T3" fmla="*/ 85 h 95"/>
                  <a:gd name="T4" fmla="*/ 0 w 59"/>
                  <a:gd name="T5" fmla="*/ 26 h 95"/>
                  <a:gd name="T6" fmla="*/ 29 w 59"/>
                  <a:gd name="T7" fmla="*/ 0 h 95"/>
                  <a:gd name="T8" fmla="*/ 59 w 59"/>
                  <a:gd name="T9" fmla="*/ 26 h 95"/>
                  <a:gd name="T10" fmla="*/ 34 w 59"/>
                  <a:gd name="T11" fmla="*/ 85 h 95"/>
                  <a:gd name="T12" fmla="*/ 29 w 59"/>
                  <a:gd name="T13" fmla="*/ 95 h 95"/>
                  <a:gd name="T14" fmla="*/ 29 w 59"/>
                  <a:gd name="T15" fmla="*/ 12 h 95"/>
                  <a:gd name="T16" fmla="*/ 12 w 59"/>
                  <a:gd name="T17" fmla="*/ 26 h 95"/>
                  <a:gd name="T18" fmla="*/ 29 w 59"/>
                  <a:gd name="T19" fmla="*/ 69 h 95"/>
                  <a:gd name="T20" fmla="*/ 47 w 59"/>
                  <a:gd name="T21" fmla="*/ 26 h 95"/>
                  <a:gd name="T22" fmla="*/ 29 w 59"/>
                  <a:gd name="T23" fmla="*/ 1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95">
                    <a:moveTo>
                      <a:pt x="29" y="95"/>
                    </a:moveTo>
                    <a:cubicBezTo>
                      <a:pt x="24" y="85"/>
                      <a:pt x="24" y="85"/>
                      <a:pt x="24" y="85"/>
                    </a:cubicBezTo>
                    <a:cubicBezTo>
                      <a:pt x="20" y="77"/>
                      <a:pt x="0" y="38"/>
                      <a:pt x="0" y="26"/>
                    </a:cubicBezTo>
                    <a:cubicBezTo>
                      <a:pt x="0" y="12"/>
                      <a:pt x="13" y="0"/>
                      <a:pt x="29" y="0"/>
                    </a:cubicBezTo>
                    <a:cubicBezTo>
                      <a:pt x="45" y="0"/>
                      <a:pt x="59" y="12"/>
                      <a:pt x="59" y="26"/>
                    </a:cubicBezTo>
                    <a:cubicBezTo>
                      <a:pt x="59" y="38"/>
                      <a:pt x="39" y="77"/>
                      <a:pt x="34" y="85"/>
                    </a:cubicBezTo>
                    <a:lnTo>
                      <a:pt x="29" y="95"/>
                    </a:lnTo>
                    <a:close/>
                    <a:moveTo>
                      <a:pt x="29" y="12"/>
                    </a:moveTo>
                    <a:cubicBezTo>
                      <a:pt x="19" y="12"/>
                      <a:pt x="12" y="18"/>
                      <a:pt x="12" y="26"/>
                    </a:cubicBezTo>
                    <a:cubicBezTo>
                      <a:pt x="12" y="31"/>
                      <a:pt x="20" y="50"/>
                      <a:pt x="29" y="69"/>
                    </a:cubicBezTo>
                    <a:cubicBezTo>
                      <a:pt x="38" y="50"/>
                      <a:pt x="47" y="31"/>
                      <a:pt x="47" y="26"/>
                    </a:cubicBezTo>
                    <a:cubicBezTo>
                      <a:pt x="47" y="18"/>
                      <a:pt x="39" y="12"/>
                      <a:pt x="2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EE87356-2135-10DB-D084-D2580E387BB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575304" y="4777932"/>
              <a:ext cx="400186" cy="638676"/>
              <a:chOff x="6513513" y="557213"/>
              <a:chExt cx="471488" cy="752475"/>
            </a:xfrm>
            <a:solidFill>
              <a:schemeClr val="bg1"/>
            </a:solidFill>
          </p:grpSpPr>
          <p:sp>
            <p:nvSpPr>
              <p:cNvPr id="36" name="Freeform 21">
                <a:extLst>
                  <a:ext uri="{FF2B5EF4-FFF2-40B4-BE49-F238E27FC236}">
                    <a16:creationId xmlns:a16="http://schemas.microsoft.com/office/drawing/2014/main" id="{A14EB98C-F123-BB70-3195-63907EC64E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13513" y="557213"/>
                <a:ext cx="471488" cy="752475"/>
              </a:xfrm>
              <a:custGeom>
                <a:avLst/>
                <a:gdLst>
                  <a:gd name="T0" fmla="*/ 80 w 160"/>
                  <a:gd name="T1" fmla="*/ 0 h 256"/>
                  <a:gd name="T2" fmla="*/ 11 w 160"/>
                  <a:gd name="T3" fmla="*/ 120 h 256"/>
                  <a:gd name="T4" fmla="*/ 42 w 160"/>
                  <a:gd name="T5" fmla="*/ 179 h 256"/>
                  <a:gd name="T6" fmla="*/ 49 w 160"/>
                  <a:gd name="T7" fmla="*/ 187 h 256"/>
                  <a:gd name="T8" fmla="*/ 48 w 160"/>
                  <a:gd name="T9" fmla="*/ 208 h 256"/>
                  <a:gd name="T10" fmla="*/ 52 w 160"/>
                  <a:gd name="T11" fmla="*/ 231 h 256"/>
                  <a:gd name="T12" fmla="*/ 108 w 160"/>
                  <a:gd name="T13" fmla="*/ 231 h 256"/>
                  <a:gd name="T14" fmla="*/ 112 w 160"/>
                  <a:gd name="T15" fmla="*/ 208 h 256"/>
                  <a:gd name="T16" fmla="*/ 110 w 160"/>
                  <a:gd name="T17" fmla="*/ 187 h 256"/>
                  <a:gd name="T18" fmla="*/ 118 w 160"/>
                  <a:gd name="T19" fmla="*/ 179 h 256"/>
                  <a:gd name="T20" fmla="*/ 149 w 160"/>
                  <a:gd name="T21" fmla="*/ 120 h 256"/>
                  <a:gd name="T22" fmla="*/ 80 w 160"/>
                  <a:gd name="T23" fmla="*/ 248 h 256"/>
                  <a:gd name="T24" fmla="*/ 99 w 160"/>
                  <a:gd name="T25" fmla="*/ 232 h 256"/>
                  <a:gd name="T26" fmla="*/ 108 w 160"/>
                  <a:gd name="T27" fmla="*/ 218 h 256"/>
                  <a:gd name="T28" fmla="*/ 58 w 160"/>
                  <a:gd name="T29" fmla="*/ 224 h 256"/>
                  <a:gd name="T30" fmla="*/ 58 w 160"/>
                  <a:gd name="T31" fmla="*/ 212 h 256"/>
                  <a:gd name="T32" fmla="*/ 108 w 160"/>
                  <a:gd name="T33" fmla="*/ 218 h 256"/>
                  <a:gd name="T34" fmla="*/ 108 w 160"/>
                  <a:gd name="T35" fmla="*/ 198 h 256"/>
                  <a:gd name="T36" fmla="*/ 58 w 160"/>
                  <a:gd name="T37" fmla="*/ 204 h 256"/>
                  <a:gd name="T38" fmla="*/ 58 w 160"/>
                  <a:gd name="T39" fmla="*/ 192 h 256"/>
                  <a:gd name="T40" fmla="*/ 96 w 160"/>
                  <a:gd name="T41" fmla="*/ 192 h 256"/>
                  <a:gd name="T42" fmla="*/ 135 w 160"/>
                  <a:gd name="T43" fmla="*/ 112 h 256"/>
                  <a:gd name="T44" fmla="*/ 104 w 160"/>
                  <a:gd name="T45" fmla="*/ 170 h 256"/>
                  <a:gd name="T46" fmla="*/ 96 w 160"/>
                  <a:gd name="T47" fmla="*/ 176 h 256"/>
                  <a:gd name="T48" fmla="*/ 96 w 160"/>
                  <a:gd name="T49" fmla="*/ 124 h 256"/>
                  <a:gd name="T50" fmla="*/ 88 w 160"/>
                  <a:gd name="T51" fmla="*/ 176 h 256"/>
                  <a:gd name="T52" fmla="*/ 68 w 160"/>
                  <a:gd name="T53" fmla="*/ 128 h 256"/>
                  <a:gd name="T54" fmla="*/ 60 w 160"/>
                  <a:gd name="T55" fmla="*/ 129 h 256"/>
                  <a:gd name="T56" fmla="*/ 57 w 160"/>
                  <a:gd name="T57" fmla="*/ 172 h 256"/>
                  <a:gd name="T58" fmla="*/ 26 w 160"/>
                  <a:gd name="T59" fmla="*/ 114 h 256"/>
                  <a:gd name="T60" fmla="*/ 16 w 160"/>
                  <a:gd name="T61" fmla="*/ 80 h 256"/>
                  <a:gd name="T62" fmla="*/ 144 w 160"/>
                  <a:gd name="T63" fmla="*/ 8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0" h="256">
                    <a:moveTo>
                      <a:pt x="160" y="80"/>
                    </a:moveTo>
                    <a:cubicBezTo>
                      <a:pt x="160" y="36"/>
                      <a:pt x="124" y="0"/>
                      <a:pt x="80" y="0"/>
                    </a:cubicBezTo>
                    <a:cubicBezTo>
                      <a:pt x="36" y="0"/>
                      <a:pt x="0" y="36"/>
                      <a:pt x="0" y="80"/>
                    </a:cubicBezTo>
                    <a:cubicBezTo>
                      <a:pt x="0" y="95"/>
                      <a:pt x="4" y="109"/>
                      <a:pt x="11" y="120"/>
                    </a:cubicBezTo>
                    <a:cubicBezTo>
                      <a:pt x="11" y="120"/>
                      <a:pt x="11" y="120"/>
                      <a:pt x="11" y="120"/>
                    </a:cubicBezTo>
                    <a:cubicBezTo>
                      <a:pt x="42" y="179"/>
                      <a:pt x="42" y="179"/>
                      <a:pt x="42" y="179"/>
                    </a:cubicBezTo>
                    <a:cubicBezTo>
                      <a:pt x="42" y="179"/>
                      <a:pt x="42" y="179"/>
                      <a:pt x="42" y="179"/>
                    </a:cubicBezTo>
                    <a:cubicBezTo>
                      <a:pt x="44" y="182"/>
                      <a:pt x="46" y="185"/>
                      <a:pt x="49" y="187"/>
                    </a:cubicBezTo>
                    <a:cubicBezTo>
                      <a:pt x="46" y="190"/>
                      <a:pt x="44" y="194"/>
                      <a:pt x="44" y="198"/>
                    </a:cubicBezTo>
                    <a:cubicBezTo>
                      <a:pt x="44" y="202"/>
                      <a:pt x="46" y="206"/>
                      <a:pt x="48" y="208"/>
                    </a:cubicBezTo>
                    <a:cubicBezTo>
                      <a:pt x="46" y="211"/>
                      <a:pt x="44" y="214"/>
                      <a:pt x="44" y="218"/>
                    </a:cubicBezTo>
                    <a:cubicBezTo>
                      <a:pt x="44" y="224"/>
                      <a:pt x="47" y="229"/>
                      <a:pt x="52" y="231"/>
                    </a:cubicBezTo>
                    <a:cubicBezTo>
                      <a:pt x="53" y="245"/>
                      <a:pt x="65" y="256"/>
                      <a:pt x="80" y="256"/>
                    </a:cubicBezTo>
                    <a:cubicBezTo>
                      <a:pt x="94" y="256"/>
                      <a:pt x="106" y="245"/>
                      <a:pt x="108" y="231"/>
                    </a:cubicBezTo>
                    <a:cubicBezTo>
                      <a:pt x="112" y="229"/>
                      <a:pt x="116" y="224"/>
                      <a:pt x="116" y="218"/>
                    </a:cubicBezTo>
                    <a:cubicBezTo>
                      <a:pt x="116" y="214"/>
                      <a:pt x="114" y="211"/>
                      <a:pt x="112" y="208"/>
                    </a:cubicBezTo>
                    <a:cubicBezTo>
                      <a:pt x="114" y="206"/>
                      <a:pt x="116" y="202"/>
                      <a:pt x="116" y="198"/>
                    </a:cubicBezTo>
                    <a:cubicBezTo>
                      <a:pt x="116" y="194"/>
                      <a:pt x="114" y="190"/>
                      <a:pt x="110" y="187"/>
                    </a:cubicBezTo>
                    <a:cubicBezTo>
                      <a:pt x="113" y="185"/>
                      <a:pt x="116" y="182"/>
                      <a:pt x="118" y="179"/>
                    </a:cubicBezTo>
                    <a:cubicBezTo>
                      <a:pt x="118" y="179"/>
                      <a:pt x="118" y="179"/>
                      <a:pt x="118" y="179"/>
                    </a:cubicBezTo>
                    <a:cubicBezTo>
                      <a:pt x="149" y="120"/>
                      <a:pt x="149" y="120"/>
                      <a:pt x="149" y="120"/>
                    </a:cubicBezTo>
                    <a:cubicBezTo>
                      <a:pt x="149" y="120"/>
                      <a:pt x="149" y="120"/>
                      <a:pt x="149" y="120"/>
                    </a:cubicBezTo>
                    <a:cubicBezTo>
                      <a:pt x="156" y="109"/>
                      <a:pt x="160" y="95"/>
                      <a:pt x="160" y="80"/>
                    </a:cubicBezTo>
                    <a:close/>
                    <a:moveTo>
                      <a:pt x="80" y="248"/>
                    </a:moveTo>
                    <a:cubicBezTo>
                      <a:pt x="70" y="248"/>
                      <a:pt x="62" y="241"/>
                      <a:pt x="60" y="232"/>
                    </a:cubicBezTo>
                    <a:cubicBezTo>
                      <a:pt x="99" y="232"/>
                      <a:pt x="99" y="232"/>
                      <a:pt x="99" y="232"/>
                    </a:cubicBezTo>
                    <a:cubicBezTo>
                      <a:pt x="97" y="241"/>
                      <a:pt x="89" y="248"/>
                      <a:pt x="80" y="248"/>
                    </a:cubicBezTo>
                    <a:close/>
                    <a:moveTo>
                      <a:pt x="108" y="218"/>
                    </a:moveTo>
                    <a:cubicBezTo>
                      <a:pt x="108" y="222"/>
                      <a:pt x="105" y="224"/>
                      <a:pt x="102" y="224"/>
                    </a:cubicBezTo>
                    <a:cubicBezTo>
                      <a:pt x="58" y="224"/>
                      <a:pt x="58" y="224"/>
                      <a:pt x="58" y="224"/>
                    </a:cubicBezTo>
                    <a:cubicBezTo>
                      <a:pt x="55" y="224"/>
                      <a:pt x="52" y="222"/>
                      <a:pt x="52" y="218"/>
                    </a:cubicBezTo>
                    <a:cubicBezTo>
                      <a:pt x="52" y="215"/>
                      <a:pt x="55" y="212"/>
                      <a:pt x="58" y="212"/>
                    </a:cubicBezTo>
                    <a:cubicBezTo>
                      <a:pt x="102" y="212"/>
                      <a:pt x="102" y="212"/>
                      <a:pt x="102" y="212"/>
                    </a:cubicBezTo>
                    <a:cubicBezTo>
                      <a:pt x="105" y="212"/>
                      <a:pt x="108" y="215"/>
                      <a:pt x="108" y="218"/>
                    </a:cubicBezTo>
                    <a:close/>
                    <a:moveTo>
                      <a:pt x="102" y="192"/>
                    </a:moveTo>
                    <a:cubicBezTo>
                      <a:pt x="105" y="192"/>
                      <a:pt x="108" y="195"/>
                      <a:pt x="108" y="198"/>
                    </a:cubicBezTo>
                    <a:cubicBezTo>
                      <a:pt x="108" y="202"/>
                      <a:pt x="105" y="204"/>
                      <a:pt x="102" y="204"/>
                    </a:cubicBezTo>
                    <a:cubicBezTo>
                      <a:pt x="58" y="204"/>
                      <a:pt x="58" y="204"/>
                      <a:pt x="58" y="204"/>
                    </a:cubicBezTo>
                    <a:cubicBezTo>
                      <a:pt x="55" y="204"/>
                      <a:pt x="52" y="202"/>
                      <a:pt x="52" y="198"/>
                    </a:cubicBezTo>
                    <a:cubicBezTo>
                      <a:pt x="52" y="195"/>
                      <a:pt x="55" y="192"/>
                      <a:pt x="58" y="192"/>
                    </a:cubicBezTo>
                    <a:cubicBezTo>
                      <a:pt x="64" y="192"/>
                      <a:pt x="64" y="192"/>
                      <a:pt x="64" y="192"/>
                    </a:cubicBezTo>
                    <a:cubicBezTo>
                      <a:pt x="96" y="192"/>
                      <a:pt x="96" y="192"/>
                      <a:pt x="96" y="192"/>
                    </a:cubicBezTo>
                    <a:lnTo>
                      <a:pt x="102" y="192"/>
                    </a:lnTo>
                    <a:close/>
                    <a:moveTo>
                      <a:pt x="135" y="112"/>
                    </a:moveTo>
                    <a:cubicBezTo>
                      <a:pt x="135" y="113"/>
                      <a:pt x="135" y="114"/>
                      <a:pt x="134" y="114"/>
                    </a:cubicBezTo>
                    <a:cubicBezTo>
                      <a:pt x="104" y="170"/>
                      <a:pt x="104" y="170"/>
                      <a:pt x="104" y="170"/>
                    </a:cubicBezTo>
                    <a:cubicBezTo>
                      <a:pt x="104" y="170"/>
                      <a:pt x="103" y="171"/>
                      <a:pt x="103" y="172"/>
                    </a:cubicBezTo>
                    <a:cubicBezTo>
                      <a:pt x="102" y="174"/>
                      <a:pt x="100" y="176"/>
                      <a:pt x="96" y="176"/>
                    </a:cubicBezTo>
                    <a:cubicBezTo>
                      <a:pt x="100" y="129"/>
                      <a:pt x="100" y="129"/>
                      <a:pt x="100" y="129"/>
                    </a:cubicBezTo>
                    <a:cubicBezTo>
                      <a:pt x="100" y="126"/>
                      <a:pt x="98" y="124"/>
                      <a:pt x="96" y="124"/>
                    </a:cubicBezTo>
                    <a:cubicBezTo>
                      <a:pt x="94" y="124"/>
                      <a:pt x="92" y="126"/>
                      <a:pt x="92" y="128"/>
                    </a:cubicBezTo>
                    <a:cubicBezTo>
                      <a:pt x="88" y="176"/>
                      <a:pt x="88" y="176"/>
                      <a:pt x="88" y="176"/>
                    </a:cubicBezTo>
                    <a:cubicBezTo>
                      <a:pt x="72" y="176"/>
                      <a:pt x="72" y="176"/>
                      <a:pt x="72" y="176"/>
                    </a:cubicBezTo>
                    <a:cubicBezTo>
                      <a:pt x="68" y="128"/>
                      <a:pt x="68" y="128"/>
                      <a:pt x="68" y="128"/>
                    </a:cubicBezTo>
                    <a:cubicBezTo>
                      <a:pt x="68" y="126"/>
                      <a:pt x="66" y="124"/>
                      <a:pt x="64" y="124"/>
                    </a:cubicBezTo>
                    <a:cubicBezTo>
                      <a:pt x="61" y="124"/>
                      <a:pt x="60" y="126"/>
                      <a:pt x="60" y="129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60" y="176"/>
                      <a:pt x="58" y="174"/>
                      <a:pt x="57" y="172"/>
                    </a:cubicBezTo>
                    <a:cubicBezTo>
                      <a:pt x="56" y="171"/>
                      <a:pt x="56" y="171"/>
                      <a:pt x="56" y="170"/>
                    </a:cubicBezTo>
                    <a:cubicBezTo>
                      <a:pt x="26" y="114"/>
                      <a:pt x="26" y="114"/>
                      <a:pt x="26" y="114"/>
                    </a:cubicBezTo>
                    <a:cubicBezTo>
                      <a:pt x="25" y="114"/>
                      <a:pt x="25" y="113"/>
                      <a:pt x="25" y="112"/>
                    </a:cubicBezTo>
                    <a:cubicBezTo>
                      <a:pt x="19" y="103"/>
                      <a:pt x="16" y="91"/>
                      <a:pt x="16" y="80"/>
                    </a:cubicBezTo>
                    <a:cubicBezTo>
                      <a:pt x="16" y="45"/>
                      <a:pt x="45" y="16"/>
                      <a:pt x="80" y="16"/>
                    </a:cubicBezTo>
                    <a:cubicBezTo>
                      <a:pt x="115" y="16"/>
                      <a:pt x="144" y="45"/>
                      <a:pt x="144" y="80"/>
                    </a:cubicBezTo>
                    <a:cubicBezTo>
                      <a:pt x="144" y="91"/>
                      <a:pt x="141" y="103"/>
                      <a:pt x="135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40" b="1">
                  <a:latin typeface="+mn-lt"/>
                </a:endParaRPr>
              </a:p>
            </p:txBody>
          </p:sp>
          <p:sp>
            <p:nvSpPr>
              <p:cNvPr id="37" name="Freeform 22">
                <a:extLst>
                  <a:ext uri="{FF2B5EF4-FFF2-40B4-BE49-F238E27FC236}">
                    <a16:creationId xmlns:a16="http://schemas.microsoft.com/office/drawing/2014/main" id="{EA2D8DBE-E5CE-0D08-DB22-1D4E89BC67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8763" y="642938"/>
                <a:ext cx="120650" cy="103188"/>
              </a:xfrm>
              <a:custGeom>
                <a:avLst/>
                <a:gdLst>
                  <a:gd name="T0" fmla="*/ 35 w 41"/>
                  <a:gd name="T1" fmla="*/ 1 h 35"/>
                  <a:gd name="T2" fmla="*/ 1 w 41"/>
                  <a:gd name="T3" fmla="*/ 29 h 35"/>
                  <a:gd name="T4" fmla="*/ 3 w 41"/>
                  <a:gd name="T5" fmla="*/ 35 h 35"/>
                  <a:gd name="T6" fmla="*/ 4 w 41"/>
                  <a:gd name="T7" fmla="*/ 35 h 35"/>
                  <a:gd name="T8" fmla="*/ 8 w 41"/>
                  <a:gd name="T9" fmla="*/ 33 h 35"/>
                  <a:gd name="T10" fmla="*/ 37 w 41"/>
                  <a:gd name="T11" fmla="*/ 9 h 35"/>
                  <a:gd name="T12" fmla="*/ 40 w 41"/>
                  <a:gd name="T13" fmla="*/ 4 h 35"/>
                  <a:gd name="T14" fmla="*/ 35 w 41"/>
                  <a:gd name="T15" fmla="*/ 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5">
                    <a:moveTo>
                      <a:pt x="35" y="1"/>
                    </a:moveTo>
                    <a:cubicBezTo>
                      <a:pt x="20" y="5"/>
                      <a:pt x="7" y="15"/>
                      <a:pt x="1" y="29"/>
                    </a:cubicBezTo>
                    <a:cubicBezTo>
                      <a:pt x="0" y="31"/>
                      <a:pt x="1" y="34"/>
                      <a:pt x="3" y="35"/>
                    </a:cubicBezTo>
                    <a:cubicBezTo>
                      <a:pt x="3" y="35"/>
                      <a:pt x="4" y="35"/>
                      <a:pt x="4" y="35"/>
                    </a:cubicBezTo>
                    <a:cubicBezTo>
                      <a:pt x="6" y="35"/>
                      <a:pt x="7" y="34"/>
                      <a:pt x="8" y="33"/>
                    </a:cubicBezTo>
                    <a:cubicBezTo>
                      <a:pt x="14" y="21"/>
                      <a:pt x="24" y="12"/>
                      <a:pt x="37" y="9"/>
                    </a:cubicBezTo>
                    <a:cubicBezTo>
                      <a:pt x="39" y="8"/>
                      <a:pt x="41" y="6"/>
                      <a:pt x="40" y="4"/>
                    </a:cubicBezTo>
                    <a:cubicBezTo>
                      <a:pt x="40" y="2"/>
                      <a:pt x="37" y="0"/>
                      <a:pt x="3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40" b="1">
                  <a:latin typeface="+mn-lt"/>
                </a:endParaRPr>
              </a:p>
            </p:txBody>
          </p:sp>
        </p:grpSp>
        <p:sp>
          <p:nvSpPr>
            <p:cNvPr id="16" name="Freeform 23">
              <a:extLst>
                <a:ext uri="{FF2B5EF4-FFF2-40B4-BE49-F238E27FC236}">
                  <a16:creationId xmlns:a16="http://schemas.microsoft.com/office/drawing/2014/main" id="{6B6620C9-AB8F-2C49-E850-5820400571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2703" y="4101652"/>
              <a:ext cx="560312" cy="496208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 b="1">
                <a:latin typeface="+mn-lt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4847AAB-ECF0-98D0-DB2B-16CCCC8D7E4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36317" y="2531394"/>
              <a:ext cx="433084" cy="412235"/>
              <a:chOff x="6719888" y="887413"/>
              <a:chExt cx="492125" cy="468312"/>
            </a:xfrm>
            <a:solidFill>
              <a:schemeClr val="bg1"/>
            </a:solidFill>
          </p:grpSpPr>
          <p:sp>
            <p:nvSpPr>
              <p:cNvPr id="30" name="Freeform 26">
                <a:extLst>
                  <a:ext uri="{FF2B5EF4-FFF2-40B4-BE49-F238E27FC236}">
                    <a16:creationId xmlns:a16="http://schemas.microsoft.com/office/drawing/2014/main" id="{A3BC55EB-E37F-82C5-E9DF-B24FABDFA3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19888" y="887413"/>
                <a:ext cx="492125" cy="468312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1" name="Freeform 27">
                <a:extLst>
                  <a:ext uri="{FF2B5EF4-FFF2-40B4-BE49-F238E27FC236}">
                    <a16:creationId xmlns:a16="http://schemas.microsoft.com/office/drawing/2014/main" id="{7953D46E-3FBB-95FF-FC5A-67E37D4272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81801" y="947738"/>
                <a:ext cx="368300" cy="247650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2" name="Freeform 28">
                <a:extLst>
                  <a:ext uri="{FF2B5EF4-FFF2-40B4-BE49-F238E27FC236}">
                    <a16:creationId xmlns:a16="http://schemas.microsoft.com/office/drawing/2014/main" id="{1C472C1B-D672-B6D0-2F29-3F9B3A8AE5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43726" y="1201738"/>
                <a:ext cx="46038" cy="47625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3" name="Freeform 29">
                <a:extLst>
                  <a:ext uri="{FF2B5EF4-FFF2-40B4-BE49-F238E27FC236}">
                    <a16:creationId xmlns:a16="http://schemas.microsoft.com/office/drawing/2014/main" id="{D2BA2AC6-6DB6-9D28-C58B-70E4A9714E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1813" y="1044575"/>
                <a:ext cx="61913" cy="65087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4" name="Freeform 30">
                <a:extLst>
                  <a:ext uri="{FF2B5EF4-FFF2-40B4-BE49-F238E27FC236}">
                    <a16:creationId xmlns:a16="http://schemas.microsoft.com/office/drawing/2014/main" id="{4DC075DA-61B5-5284-17FA-B4793FB8F2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0076" y="1033463"/>
                <a:ext cx="31750" cy="87312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5" name="Freeform 31">
                <a:extLst>
                  <a:ext uri="{FF2B5EF4-FFF2-40B4-BE49-F238E27FC236}">
                    <a16:creationId xmlns:a16="http://schemas.microsoft.com/office/drawing/2014/main" id="{45492884-A0A9-1F36-E105-2A6536BCFD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9763" y="1044575"/>
                <a:ext cx="60325" cy="65087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5336E-F172-F669-7591-AA68DD0CFE70}"/>
                </a:ext>
              </a:extLst>
            </p:cNvPr>
            <p:cNvGrpSpPr/>
            <p:nvPr/>
          </p:nvGrpSpPr>
          <p:grpSpPr>
            <a:xfrm>
              <a:off x="2471788" y="1862438"/>
              <a:ext cx="632472" cy="426508"/>
              <a:chOff x="6716027" y="5411634"/>
              <a:chExt cx="583964" cy="393797"/>
            </a:xfrm>
            <a:solidFill>
              <a:schemeClr val="bg1"/>
            </a:solidFill>
          </p:grpSpPr>
          <p:sp>
            <p:nvSpPr>
              <p:cNvPr id="27" name="Freeform 17">
                <a:extLst>
                  <a:ext uri="{FF2B5EF4-FFF2-40B4-BE49-F238E27FC236}">
                    <a16:creationId xmlns:a16="http://schemas.microsoft.com/office/drawing/2014/main" id="{F9B856E7-B95D-C00B-51AF-DA65BA75C8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832931" y="5294730"/>
                <a:ext cx="350155" cy="583964"/>
              </a:xfrm>
              <a:custGeom>
                <a:avLst/>
                <a:gdLst>
                  <a:gd name="T0" fmla="*/ 50 w 184"/>
                  <a:gd name="T1" fmla="*/ 310 h 310"/>
                  <a:gd name="T2" fmla="*/ 32 w 184"/>
                  <a:gd name="T3" fmla="*/ 282 h 310"/>
                  <a:gd name="T4" fmla="*/ 10 w 184"/>
                  <a:gd name="T5" fmla="*/ 199 h 310"/>
                  <a:gd name="T6" fmla="*/ 39 w 184"/>
                  <a:gd name="T7" fmla="*/ 171 h 310"/>
                  <a:gd name="T8" fmla="*/ 30 w 184"/>
                  <a:gd name="T9" fmla="*/ 116 h 310"/>
                  <a:gd name="T10" fmla="*/ 36 w 184"/>
                  <a:gd name="T11" fmla="*/ 73 h 310"/>
                  <a:gd name="T12" fmla="*/ 36 w 184"/>
                  <a:gd name="T13" fmla="*/ 72 h 310"/>
                  <a:gd name="T14" fmla="*/ 92 w 184"/>
                  <a:gd name="T15" fmla="*/ 0 h 310"/>
                  <a:gd name="T16" fmla="*/ 148 w 184"/>
                  <a:gd name="T17" fmla="*/ 72 h 310"/>
                  <a:gd name="T18" fmla="*/ 148 w 184"/>
                  <a:gd name="T19" fmla="*/ 73 h 310"/>
                  <a:gd name="T20" fmla="*/ 155 w 184"/>
                  <a:gd name="T21" fmla="*/ 116 h 310"/>
                  <a:gd name="T22" fmla="*/ 145 w 184"/>
                  <a:gd name="T23" fmla="*/ 171 h 310"/>
                  <a:gd name="T24" fmla="*/ 174 w 184"/>
                  <a:gd name="T25" fmla="*/ 199 h 310"/>
                  <a:gd name="T26" fmla="*/ 153 w 184"/>
                  <a:gd name="T27" fmla="*/ 282 h 310"/>
                  <a:gd name="T28" fmla="*/ 134 w 184"/>
                  <a:gd name="T29" fmla="*/ 310 h 310"/>
                  <a:gd name="T30" fmla="*/ 134 w 184"/>
                  <a:gd name="T31" fmla="*/ 276 h 310"/>
                  <a:gd name="T32" fmla="*/ 118 w 184"/>
                  <a:gd name="T33" fmla="*/ 239 h 310"/>
                  <a:gd name="T34" fmla="*/ 118 w 184"/>
                  <a:gd name="T35" fmla="*/ 240 h 310"/>
                  <a:gd name="T36" fmla="*/ 115 w 184"/>
                  <a:gd name="T37" fmla="*/ 246 h 310"/>
                  <a:gd name="T38" fmla="*/ 108 w 184"/>
                  <a:gd name="T39" fmla="*/ 245 h 310"/>
                  <a:gd name="T40" fmla="*/ 76 w 184"/>
                  <a:gd name="T41" fmla="*/ 245 h 310"/>
                  <a:gd name="T42" fmla="*/ 69 w 184"/>
                  <a:gd name="T43" fmla="*/ 246 h 310"/>
                  <a:gd name="T44" fmla="*/ 66 w 184"/>
                  <a:gd name="T45" fmla="*/ 240 h 310"/>
                  <a:gd name="T46" fmla="*/ 66 w 184"/>
                  <a:gd name="T47" fmla="*/ 239 h 310"/>
                  <a:gd name="T48" fmla="*/ 50 w 184"/>
                  <a:gd name="T49" fmla="*/ 276 h 310"/>
                  <a:gd name="T50" fmla="*/ 50 w 184"/>
                  <a:gd name="T51" fmla="*/ 310 h 310"/>
                  <a:gd name="T52" fmla="*/ 55 w 184"/>
                  <a:gd name="T53" fmla="*/ 79 h 310"/>
                  <a:gd name="T54" fmla="*/ 50 w 184"/>
                  <a:gd name="T55" fmla="*/ 116 h 310"/>
                  <a:gd name="T56" fmla="*/ 61 w 184"/>
                  <a:gd name="T57" fmla="*/ 174 h 310"/>
                  <a:gd name="T58" fmla="*/ 64 w 184"/>
                  <a:gd name="T59" fmla="*/ 184 h 310"/>
                  <a:gd name="T60" fmla="*/ 54 w 184"/>
                  <a:gd name="T61" fmla="*/ 187 h 310"/>
                  <a:gd name="T62" fmla="*/ 29 w 184"/>
                  <a:gd name="T63" fmla="*/ 205 h 310"/>
                  <a:gd name="T64" fmla="*/ 36 w 184"/>
                  <a:gd name="T65" fmla="*/ 247 h 310"/>
                  <a:gd name="T66" fmla="*/ 65 w 184"/>
                  <a:gd name="T67" fmla="*/ 215 h 310"/>
                  <a:gd name="T68" fmla="*/ 74 w 184"/>
                  <a:gd name="T69" fmla="*/ 209 h 310"/>
                  <a:gd name="T70" fmla="*/ 79 w 184"/>
                  <a:gd name="T71" fmla="*/ 219 h 310"/>
                  <a:gd name="T72" fmla="*/ 82 w 184"/>
                  <a:gd name="T73" fmla="*/ 225 h 310"/>
                  <a:gd name="T74" fmla="*/ 103 w 184"/>
                  <a:gd name="T75" fmla="*/ 225 h 310"/>
                  <a:gd name="T76" fmla="*/ 105 w 184"/>
                  <a:gd name="T77" fmla="*/ 219 h 310"/>
                  <a:gd name="T78" fmla="*/ 110 w 184"/>
                  <a:gd name="T79" fmla="*/ 209 h 310"/>
                  <a:gd name="T80" fmla="*/ 120 w 184"/>
                  <a:gd name="T81" fmla="*/ 215 h 310"/>
                  <a:gd name="T82" fmla="*/ 148 w 184"/>
                  <a:gd name="T83" fmla="*/ 247 h 310"/>
                  <a:gd name="T84" fmla="*/ 155 w 184"/>
                  <a:gd name="T85" fmla="*/ 205 h 310"/>
                  <a:gd name="T86" fmla="*/ 130 w 184"/>
                  <a:gd name="T87" fmla="*/ 187 h 310"/>
                  <a:gd name="T88" fmla="*/ 120 w 184"/>
                  <a:gd name="T89" fmla="*/ 184 h 310"/>
                  <a:gd name="T90" fmla="*/ 123 w 184"/>
                  <a:gd name="T91" fmla="*/ 174 h 310"/>
                  <a:gd name="T92" fmla="*/ 135 w 184"/>
                  <a:gd name="T93" fmla="*/ 116 h 310"/>
                  <a:gd name="T94" fmla="*/ 129 w 184"/>
                  <a:gd name="T95" fmla="*/ 79 h 310"/>
                  <a:gd name="T96" fmla="*/ 92 w 184"/>
                  <a:gd name="T97" fmla="*/ 21 h 310"/>
                  <a:gd name="T98" fmla="*/ 55 w 184"/>
                  <a:gd name="T99" fmla="*/ 7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4" h="310">
                    <a:moveTo>
                      <a:pt x="50" y="310"/>
                    </a:moveTo>
                    <a:cubicBezTo>
                      <a:pt x="32" y="282"/>
                      <a:pt x="32" y="282"/>
                      <a:pt x="32" y="282"/>
                    </a:cubicBezTo>
                    <a:cubicBezTo>
                      <a:pt x="28" y="276"/>
                      <a:pt x="0" y="230"/>
                      <a:pt x="10" y="199"/>
                    </a:cubicBezTo>
                    <a:cubicBezTo>
                      <a:pt x="14" y="187"/>
                      <a:pt x="24" y="178"/>
                      <a:pt x="39" y="171"/>
                    </a:cubicBezTo>
                    <a:cubicBezTo>
                      <a:pt x="33" y="151"/>
                      <a:pt x="30" y="132"/>
                      <a:pt x="30" y="116"/>
                    </a:cubicBezTo>
                    <a:cubicBezTo>
                      <a:pt x="30" y="102"/>
                      <a:pt x="32" y="87"/>
                      <a:pt x="36" y="73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50" y="35"/>
                      <a:pt x="77" y="0"/>
                      <a:pt x="92" y="0"/>
                    </a:cubicBezTo>
                    <a:cubicBezTo>
                      <a:pt x="107" y="0"/>
                      <a:pt x="134" y="35"/>
                      <a:pt x="148" y="72"/>
                    </a:cubicBezTo>
                    <a:cubicBezTo>
                      <a:pt x="148" y="73"/>
                      <a:pt x="148" y="73"/>
                      <a:pt x="148" y="73"/>
                    </a:cubicBezTo>
                    <a:cubicBezTo>
                      <a:pt x="152" y="87"/>
                      <a:pt x="155" y="102"/>
                      <a:pt x="155" y="116"/>
                    </a:cubicBezTo>
                    <a:cubicBezTo>
                      <a:pt x="155" y="132"/>
                      <a:pt x="152" y="151"/>
                      <a:pt x="145" y="171"/>
                    </a:cubicBezTo>
                    <a:cubicBezTo>
                      <a:pt x="160" y="178"/>
                      <a:pt x="170" y="187"/>
                      <a:pt x="174" y="199"/>
                    </a:cubicBezTo>
                    <a:cubicBezTo>
                      <a:pt x="184" y="230"/>
                      <a:pt x="156" y="276"/>
                      <a:pt x="153" y="282"/>
                    </a:cubicBezTo>
                    <a:cubicBezTo>
                      <a:pt x="134" y="310"/>
                      <a:pt x="134" y="310"/>
                      <a:pt x="134" y="310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134" y="262"/>
                      <a:pt x="128" y="248"/>
                      <a:pt x="118" y="239"/>
                    </a:cubicBezTo>
                    <a:cubicBezTo>
                      <a:pt x="118" y="239"/>
                      <a:pt x="118" y="239"/>
                      <a:pt x="118" y="240"/>
                    </a:cubicBezTo>
                    <a:cubicBezTo>
                      <a:pt x="115" y="246"/>
                      <a:pt x="115" y="246"/>
                      <a:pt x="115" y="246"/>
                    </a:cubicBezTo>
                    <a:cubicBezTo>
                      <a:pt x="108" y="245"/>
                      <a:pt x="108" y="245"/>
                      <a:pt x="108" y="245"/>
                    </a:cubicBezTo>
                    <a:cubicBezTo>
                      <a:pt x="98" y="245"/>
                      <a:pt x="87" y="245"/>
                      <a:pt x="76" y="245"/>
                    </a:cubicBezTo>
                    <a:cubicBezTo>
                      <a:pt x="69" y="246"/>
                      <a:pt x="69" y="246"/>
                      <a:pt x="69" y="246"/>
                    </a:cubicBezTo>
                    <a:cubicBezTo>
                      <a:pt x="66" y="240"/>
                      <a:pt x="66" y="240"/>
                      <a:pt x="66" y="240"/>
                    </a:cubicBezTo>
                    <a:cubicBezTo>
                      <a:pt x="66" y="239"/>
                      <a:pt x="66" y="239"/>
                      <a:pt x="66" y="239"/>
                    </a:cubicBezTo>
                    <a:cubicBezTo>
                      <a:pt x="56" y="249"/>
                      <a:pt x="50" y="262"/>
                      <a:pt x="50" y="276"/>
                    </a:cubicBezTo>
                    <a:lnTo>
                      <a:pt x="50" y="310"/>
                    </a:lnTo>
                    <a:close/>
                    <a:moveTo>
                      <a:pt x="55" y="79"/>
                    </a:moveTo>
                    <a:cubicBezTo>
                      <a:pt x="52" y="91"/>
                      <a:pt x="50" y="104"/>
                      <a:pt x="50" y="116"/>
                    </a:cubicBezTo>
                    <a:cubicBezTo>
                      <a:pt x="50" y="132"/>
                      <a:pt x="53" y="152"/>
                      <a:pt x="61" y="174"/>
                    </a:cubicBezTo>
                    <a:cubicBezTo>
                      <a:pt x="64" y="184"/>
                      <a:pt x="64" y="184"/>
                      <a:pt x="64" y="184"/>
                    </a:cubicBezTo>
                    <a:cubicBezTo>
                      <a:pt x="54" y="187"/>
                      <a:pt x="54" y="187"/>
                      <a:pt x="54" y="187"/>
                    </a:cubicBezTo>
                    <a:cubicBezTo>
                      <a:pt x="45" y="190"/>
                      <a:pt x="33" y="196"/>
                      <a:pt x="29" y="205"/>
                    </a:cubicBezTo>
                    <a:cubicBezTo>
                      <a:pt x="26" y="216"/>
                      <a:pt x="30" y="233"/>
                      <a:pt x="36" y="247"/>
                    </a:cubicBezTo>
                    <a:cubicBezTo>
                      <a:pt x="42" y="234"/>
                      <a:pt x="52" y="223"/>
                      <a:pt x="65" y="215"/>
                    </a:cubicBezTo>
                    <a:cubicBezTo>
                      <a:pt x="74" y="209"/>
                      <a:pt x="74" y="209"/>
                      <a:pt x="74" y="209"/>
                    </a:cubicBezTo>
                    <a:cubicBezTo>
                      <a:pt x="79" y="219"/>
                      <a:pt x="79" y="219"/>
                      <a:pt x="79" y="219"/>
                    </a:cubicBezTo>
                    <a:cubicBezTo>
                      <a:pt x="80" y="221"/>
                      <a:pt x="81" y="223"/>
                      <a:pt x="82" y="225"/>
                    </a:cubicBezTo>
                    <a:cubicBezTo>
                      <a:pt x="89" y="225"/>
                      <a:pt x="96" y="225"/>
                      <a:pt x="103" y="225"/>
                    </a:cubicBezTo>
                    <a:cubicBezTo>
                      <a:pt x="104" y="223"/>
                      <a:pt x="105" y="221"/>
                      <a:pt x="105" y="219"/>
                    </a:cubicBezTo>
                    <a:cubicBezTo>
                      <a:pt x="110" y="209"/>
                      <a:pt x="110" y="209"/>
                      <a:pt x="110" y="209"/>
                    </a:cubicBezTo>
                    <a:cubicBezTo>
                      <a:pt x="120" y="215"/>
                      <a:pt x="120" y="215"/>
                      <a:pt x="120" y="215"/>
                    </a:cubicBezTo>
                    <a:cubicBezTo>
                      <a:pt x="133" y="223"/>
                      <a:pt x="142" y="234"/>
                      <a:pt x="148" y="247"/>
                    </a:cubicBezTo>
                    <a:cubicBezTo>
                      <a:pt x="154" y="233"/>
                      <a:pt x="159" y="216"/>
                      <a:pt x="155" y="205"/>
                    </a:cubicBezTo>
                    <a:cubicBezTo>
                      <a:pt x="152" y="196"/>
                      <a:pt x="140" y="190"/>
                      <a:pt x="130" y="187"/>
                    </a:cubicBezTo>
                    <a:cubicBezTo>
                      <a:pt x="120" y="184"/>
                      <a:pt x="120" y="184"/>
                      <a:pt x="120" y="184"/>
                    </a:cubicBezTo>
                    <a:cubicBezTo>
                      <a:pt x="123" y="174"/>
                      <a:pt x="123" y="174"/>
                      <a:pt x="123" y="174"/>
                    </a:cubicBezTo>
                    <a:cubicBezTo>
                      <a:pt x="131" y="152"/>
                      <a:pt x="135" y="132"/>
                      <a:pt x="135" y="116"/>
                    </a:cubicBezTo>
                    <a:cubicBezTo>
                      <a:pt x="135" y="104"/>
                      <a:pt x="133" y="91"/>
                      <a:pt x="129" y="79"/>
                    </a:cubicBezTo>
                    <a:cubicBezTo>
                      <a:pt x="117" y="47"/>
                      <a:pt x="99" y="26"/>
                      <a:pt x="92" y="21"/>
                    </a:cubicBezTo>
                    <a:cubicBezTo>
                      <a:pt x="85" y="26"/>
                      <a:pt x="67" y="47"/>
                      <a:pt x="55" y="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8" name="Freeform 18">
                <a:extLst>
                  <a:ext uri="{FF2B5EF4-FFF2-40B4-BE49-F238E27FC236}">
                    <a16:creationId xmlns:a16="http://schemas.microsoft.com/office/drawing/2014/main" id="{B4789F75-6F20-3590-EC38-7ECFAFE0C1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989613" y="5483631"/>
                <a:ext cx="121724" cy="120112"/>
              </a:xfrm>
              <a:custGeom>
                <a:avLst/>
                <a:gdLst>
                  <a:gd name="T0" fmla="*/ 32 w 64"/>
                  <a:gd name="T1" fmla="*/ 64 h 64"/>
                  <a:gd name="T2" fmla="*/ 0 w 64"/>
                  <a:gd name="T3" fmla="*/ 32 h 64"/>
                  <a:gd name="T4" fmla="*/ 32 w 64"/>
                  <a:gd name="T5" fmla="*/ 0 h 64"/>
                  <a:gd name="T6" fmla="*/ 64 w 64"/>
                  <a:gd name="T7" fmla="*/ 32 h 64"/>
                  <a:gd name="T8" fmla="*/ 32 w 64"/>
                  <a:gd name="T9" fmla="*/ 64 h 64"/>
                  <a:gd name="T10" fmla="*/ 32 w 64"/>
                  <a:gd name="T11" fmla="*/ 12 h 64"/>
                  <a:gd name="T12" fmla="*/ 12 w 64"/>
                  <a:gd name="T13" fmla="*/ 32 h 64"/>
                  <a:gd name="T14" fmla="*/ 32 w 64"/>
                  <a:gd name="T15" fmla="*/ 52 h 64"/>
                  <a:gd name="T16" fmla="*/ 52 w 64"/>
                  <a:gd name="T17" fmla="*/ 32 h 64"/>
                  <a:gd name="T18" fmla="*/ 32 w 64"/>
                  <a:gd name="T19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14" y="64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lose/>
                    <a:moveTo>
                      <a:pt x="32" y="12"/>
                    </a:moveTo>
                    <a:cubicBezTo>
                      <a:pt x="21" y="12"/>
                      <a:pt x="12" y="21"/>
                      <a:pt x="12" y="32"/>
                    </a:cubicBezTo>
                    <a:cubicBezTo>
                      <a:pt x="12" y="43"/>
                      <a:pt x="21" y="52"/>
                      <a:pt x="32" y="52"/>
                    </a:cubicBezTo>
                    <a:cubicBezTo>
                      <a:pt x="43" y="52"/>
                      <a:pt x="52" y="43"/>
                      <a:pt x="52" y="32"/>
                    </a:cubicBezTo>
                    <a:cubicBezTo>
                      <a:pt x="52" y="21"/>
                      <a:pt x="43" y="12"/>
                      <a:pt x="3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9" name="Freeform 19">
                <a:extLst>
                  <a:ext uri="{FF2B5EF4-FFF2-40B4-BE49-F238E27FC236}">
                    <a16:creationId xmlns:a16="http://schemas.microsoft.com/office/drawing/2014/main" id="{862EA9E2-C86E-9E47-96C8-D52135116E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790966" y="5660018"/>
                <a:ext cx="112239" cy="178587"/>
              </a:xfrm>
              <a:custGeom>
                <a:avLst/>
                <a:gdLst>
                  <a:gd name="T0" fmla="*/ 29 w 59"/>
                  <a:gd name="T1" fmla="*/ 95 h 95"/>
                  <a:gd name="T2" fmla="*/ 24 w 59"/>
                  <a:gd name="T3" fmla="*/ 85 h 95"/>
                  <a:gd name="T4" fmla="*/ 0 w 59"/>
                  <a:gd name="T5" fmla="*/ 26 h 95"/>
                  <a:gd name="T6" fmla="*/ 29 w 59"/>
                  <a:gd name="T7" fmla="*/ 0 h 95"/>
                  <a:gd name="T8" fmla="*/ 59 w 59"/>
                  <a:gd name="T9" fmla="*/ 26 h 95"/>
                  <a:gd name="T10" fmla="*/ 34 w 59"/>
                  <a:gd name="T11" fmla="*/ 85 h 95"/>
                  <a:gd name="T12" fmla="*/ 29 w 59"/>
                  <a:gd name="T13" fmla="*/ 95 h 95"/>
                  <a:gd name="T14" fmla="*/ 29 w 59"/>
                  <a:gd name="T15" fmla="*/ 12 h 95"/>
                  <a:gd name="T16" fmla="*/ 12 w 59"/>
                  <a:gd name="T17" fmla="*/ 26 h 95"/>
                  <a:gd name="T18" fmla="*/ 29 w 59"/>
                  <a:gd name="T19" fmla="*/ 69 h 95"/>
                  <a:gd name="T20" fmla="*/ 47 w 59"/>
                  <a:gd name="T21" fmla="*/ 26 h 95"/>
                  <a:gd name="T22" fmla="*/ 29 w 59"/>
                  <a:gd name="T23" fmla="*/ 1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95">
                    <a:moveTo>
                      <a:pt x="29" y="95"/>
                    </a:moveTo>
                    <a:cubicBezTo>
                      <a:pt x="24" y="85"/>
                      <a:pt x="24" y="85"/>
                      <a:pt x="24" y="85"/>
                    </a:cubicBezTo>
                    <a:cubicBezTo>
                      <a:pt x="20" y="77"/>
                      <a:pt x="0" y="38"/>
                      <a:pt x="0" y="26"/>
                    </a:cubicBezTo>
                    <a:cubicBezTo>
                      <a:pt x="0" y="12"/>
                      <a:pt x="13" y="0"/>
                      <a:pt x="29" y="0"/>
                    </a:cubicBezTo>
                    <a:cubicBezTo>
                      <a:pt x="45" y="0"/>
                      <a:pt x="59" y="12"/>
                      <a:pt x="59" y="26"/>
                    </a:cubicBezTo>
                    <a:cubicBezTo>
                      <a:pt x="59" y="38"/>
                      <a:pt x="39" y="77"/>
                      <a:pt x="34" y="85"/>
                    </a:cubicBezTo>
                    <a:lnTo>
                      <a:pt x="29" y="95"/>
                    </a:lnTo>
                    <a:close/>
                    <a:moveTo>
                      <a:pt x="29" y="12"/>
                    </a:moveTo>
                    <a:cubicBezTo>
                      <a:pt x="19" y="12"/>
                      <a:pt x="12" y="18"/>
                      <a:pt x="12" y="26"/>
                    </a:cubicBezTo>
                    <a:cubicBezTo>
                      <a:pt x="12" y="31"/>
                      <a:pt x="20" y="50"/>
                      <a:pt x="29" y="69"/>
                    </a:cubicBezTo>
                    <a:cubicBezTo>
                      <a:pt x="38" y="50"/>
                      <a:pt x="47" y="31"/>
                      <a:pt x="47" y="26"/>
                    </a:cubicBezTo>
                    <a:cubicBezTo>
                      <a:pt x="47" y="18"/>
                      <a:pt x="39" y="12"/>
                      <a:pt x="2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sp>
          <p:nvSpPr>
            <p:cNvPr id="19" name="Freeform 23">
              <a:extLst>
                <a:ext uri="{FF2B5EF4-FFF2-40B4-BE49-F238E27FC236}">
                  <a16:creationId xmlns:a16="http://schemas.microsoft.com/office/drawing/2014/main" id="{B5BA0C8F-39A8-B81B-ABFA-2049252E20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0477" y="2489408"/>
              <a:ext cx="560312" cy="496208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 b="1">
                <a:latin typeface="+mn-lt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5653CEA-6411-8F7B-4F01-266AEB3F544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555167" y="3381079"/>
              <a:ext cx="433084" cy="412235"/>
              <a:chOff x="6719888" y="887413"/>
              <a:chExt cx="492125" cy="468312"/>
            </a:xfrm>
            <a:solidFill>
              <a:schemeClr val="bg1"/>
            </a:solidFill>
          </p:grpSpPr>
          <p:sp>
            <p:nvSpPr>
              <p:cNvPr id="21" name="Freeform 26">
                <a:extLst>
                  <a:ext uri="{FF2B5EF4-FFF2-40B4-BE49-F238E27FC236}">
                    <a16:creationId xmlns:a16="http://schemas.microsoft.com/office/drawing/2014/main" id="{382A190A-B436-E915-EC89-02BBC0DA15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19888" y="887413"/>
                <a:ext cx="492125" cy="468312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2" name="Freeform 27">
                <a:extLst>
                  <a:ext uri="{FF2B5EF4-FFF2-40B4-BE49-F238E27FC236}">
                    <a16:creationId xmlns:a16="http://schemas.microsoft.com/office/drawing/2014/main" id="{CFFB56DF-CCB3-047C-DB6B-847D92A504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81801" y="947738"/>
                <a:ext cx="368300" cy="247650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3" name="Freeform 28">
                <a:extLst>
                  <a:ext uri="{FF2B5EF4-FFF2-40B4-BE49-F238E27FC236}">
                    <a16:creationId xmlns:a16="http://schemas.microsoft.com/office/drawing/2014/main" id="{CCFE6014-6185-09CF-0BD9-886C263481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43726" y="1201738"/>
                <a:ext cx="46038" cy="47625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4" name="Freeform 29">
                <a:extLst>
                  <a:ext uri="{FF2B5EF4-FFF2-40B4-BE49-F238E27FC236}">
                    <a16:creationId xmlns:a16="http://schemas.microsoft.com/office/drawing/2014/main" id="{886C1899-863A-84FF-37E1-52F0F0CE1C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1813" y="1044575"/>
                <a:ext cx="61913" cy="65087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5" name="Freeform 30">
                <a:extLst>
                  <a:ext uri="{FF2B5EF4-FFF2-40B4-BE49-F238E27FC236}">
                    <a16:creationId xmlns:a16="http://schemas.microsoft.com/office/drawing/2014/main" id="{CD834244-81E2-FF5E-A4B8-48BAE4C4AC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0076" y="1033463"/>
                <a:ext cx="31750" cy="87312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6" name="Freeform 31">
                <a:extLst>
                  <a:ext uri="{FF2B5EF4-FFF2-40B4-BE49-F238E27FC236}">
                    <a16:creationId xmlns:a16="http://schemas.microsoft.com/office/drawing/2014/main" id="{4641E0B8-74B1-BCE4-C4AB-C398E2DB94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9763" y="1044575"/>
                <a:ext cx="60325" cy="65087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sp>
        <p:nvSpPr>
          <p:cNvPr id="51" name="Folded Corner 67">
            <a:extLst>
              <a:ext uri="{FF2B5EF4-FFF2-40B4-BE49-F238E27FC236}">
                <a16:creationId xmlns:a16="http://schemas.microsoft.com/office/drawing/2014/main" id="{33F5ABBD-57D2-B96A-00DD-AF04D424D16C}"/>
              </a:ext>
            </a:extLst>
          </p:cNvPr>
          <p:cNvSpPr/>
          <p:nvPr/>
        </p:nvSpPr>
        <p:spPr>
          <a:xfrm>
            <a:off x="6111567" y="2279422"/>
            <a:ext cx="5064152" cy="3351824"/>
          </a:xfrm>
          <a:prstGeom prst="foldedCorner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179229" rtlCol="0" anchor="t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endParaRPr lang="en-US" sz="1372" b="1" dirty="0">
              <a:solidFill>
                <a:srgbClr val="262626">
                  <a:lumMod val="90000"/>
                  <a:lumOff val="10000"/>
                </a:srgbClr>
              </a:solidFill>
              <a:cs typeface="Calibri" panose="020F0502020204030204" pitchFamily="34" charset="0"/>
            </a:endParaRPr>
          </a:p>
        </p:txBody>
      </p:sp>
      <p:sp>
        <p:nvSpPr>
          <p:cNvPr id="52" name="Round Same Side Corner Rectangle 69">
            <a:extLst>
              <a:ext uri="{FF2B5EF4-FFF2-40B4-BE49-F238E27FC236}">
                <a16:creationId xmlns:a16="http://schemas.microsoft.com/office/drawing/2014/main" id="{0567545B-CB71-15C1-CC10-4AA6559FB36E}"/>
              </a:ext>
            </a:extLst>
          </p:cNvPr>
          <p:cNvSpPr/>
          <p:nvPr/>
        </p:nvSpPr>
        <p:spPr>
          <a:xfrm>
            <a:off x="6111567" y="1680686"/>
            <a:ext cx="5064152" cy="553673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0" bIns="0" rtlCol="0" anchor="ctr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960" b="1" dirty="0">
                <a:solidFill>
                  <a:srgbClr val="FFFFFF"/>
                </a:solidFill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53" name="Inhaltsplatzhalter 4">
            <a:extLst>
              <a:ext uri="{FF2B5EF4-FFF2-40B4-BE49-F238E27FC236}">
                <a16:creationId xmlns:a16="http://schemas.microsoft.com/office/drawing/2014/main" id="{A1AF7D62-27C6-B9B2-FA20-641A91E1C14E}"/>
              </a:ext>
            </a:extLst>
          </p:cNvPr>
          <p:cNvSpPr txBox="1">
            <a:spLocks/>
          </p:cNvSpPr>
          <p:nvPr/>
        </p:nvSpPr>
        <p:spPr>
          <a:xfrm>
            <a:off x="6324421" y="2381899"/>
            <a:ext cx="4431950" cy="27710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</p:txBody>
      </p:sp>
    </p:spTree>
    <p:extLst>
      <p:ext uri="{BB962C8B-B14F-4D97-AF65-F5344CB8AC3E}">
        <p14:creationId xmlns:p14="http://schemas.microsoft.com/office/powerpoint/2010/main" val="13794554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18</TotalTime>
  <Words>41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6 Concep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16</cp:revision>
  <dcterms:created xsi:type="dcterms:W3CDTF">2021-03-31T02:49:57Z</dcterms:created>
  <dcterms:modified xsi:type="dcterms:W3CDTF">2025-10-15T03:41:26Z</dcterms:modified>
  <cp:category/>
</cp:coreProperties>
</file>